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93" r:id="rId4"/>
  </p:sldMasterIdLst>
  <p:notesMasterIdLst>
    <p:notesMasterId r:id="rId10"/>
  </p:notesMasterIdLst>
  <p:handoutMasterIdLst>
    <p:handoutMasterId r:id="rId11"/>
  </p:handoutMasterIdLst>
  <p:sldIdLst>
    <p:sldId id="341" r:id="rId5"/>
    <p:sldId id="2147470976" r:id="rId6"/>
    <p:sldId id="2147470995" r:id="rId7"/>
    <p:sldId id="606" r:id="rId8"/>
    <p:sldId id="2147471004" r:id="rId9"/>
  </p:sldIdLst>
  <p:sldSz cx="12192000" cy="6858000"/>
  <p:notesSz cx="7315200" cy="96012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0" userDrawn="1">
          <p15:clr>
            <a:srgbClr val="A4A3A4"/>
          </p15:clr>
        </p15:guide>
        <p15:guide id="12" orient="horz" pos="1593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072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2ABB21F-1013-5912-BCB2-9A17E14EE777}" name="Saini, Deepak" initials="SD" userId="S::dsaini@deloitte.com::e80dbb9a-4b07-4a9f-88ef-d15fa0089888" providerId="AD"/>
  <p188:author id="{C0E6D74F-5A8A-EED2-EDCC-E41C7CB3BFCD}" name="Agarwal, Ritvika Agarwal" initials="AA" userId="S::ritagarwal@deloitte.com::b707b316-64a3-4610-910f-1bdb9cece82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mika H" initials="A" lastIdx="8" clrIdx="0">
    <p:extLst>
      <p:ext uri="{19B8F6BF-5375-455C-9EA6-DF929625EA0E}">
        <p15:presenceInfo xmlns:p15="http://schemas.microsoft.com/office/powerpoint/2012/main" userId="Tamika H" providerId="None"/>
      </p:ext>
    </p:extLst>
  </p:cmAuthor>
  <p:cmAuthor id="2" name="Nangle, Ryan" initials="NR" lastIdx="5" clrIdx="1">
    <p:extLst>
      <p:ext uri="{19B8F6BF-5375-455C-9EA6-DF929625EA0E}">
        <p15:presenceInfo xmlns:p15="http://schemas.microsoft.com/office/powerpoint/2012/main" userId="S::rnangle@deloitte.com::e2554a09-feee-485b-b4c5-b68e776b55c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8A2E"/>
    <a:srgbClr val="000000"/>
    <a:srgbClr val="FFCD00"/>
    <a:srgbClr val="ED8B00"/>
    <a:srgbClr val="DB291C"/>
    <a:srgbClr val="FF9900"/>
    <a:srgbClr val="C00000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64"/>
      </p:cViewPr>
      <p:guideLst>
        <p:guide/>
        <p:guide orient="horz" pos="2040"/>
        <p:guide orient="horz" pos="1593"/>
        <p:guide orient="horz" pos="2568"/>
        <p:guide orient="horz" pos="3072"/>
        <p:guide orient="horz" pos="358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4/10/2024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4/1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094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492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34775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91469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A34052-12FB-4B01-8A2E-D87AD7371E9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21369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B1DBBF7-4EAE-4F8E-80EB-5E36A81C5882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B595760D-1961-4CF0-A79F-E0C641C5E1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BA213B5C-0BC9-4640-BE48-78260F9B6D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A9E5E405-2AF9-4E2B-8F43-F76F432CEF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7FE942F8-2D25-42A3-A409-4D4ADADF94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7CFD0CDD-055D-4EF6-AB60-E6A04A31CA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DCA52BB3-DD5F-46AB-B237-3750DBC6B6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A24ED087-FB4A-42B2-8F67-7DF619974B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081D059B-F9CF-4815-B2C7-F7FBC22AA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2E6D6E46-0F1D-41F0-A413-699C42207E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10957F9A-A9E7-4445-87CB-845E0DEBE0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2912EC3-1855-4861-A48F-44967565F36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C26045A5-BDA5-4E60-B10E-04BA92E9792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291ED79A-C6A4-493F-85EF-04BA0E4DBA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4" name="Rectangle 7">
              <a:extLst>
                <a:ext uri="{FF2B5EF4-FFF2-40B4-BE49-F238E27FC236}">
                  <a16:creationId xmlns:a16="http://schemas.microsoft.com/office/drawing/2014/main" id="{1E00A011-156F-48B9-B2DB-9C341DBC74A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38C56265-27CC-48D8-9C76-18EE31E85F7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6" name="Rectangle 9">
              <a:extLst>
                <a:ext uri="{FF2B5EF4-FFF2-40B4-BE49-F238E27FC236}">
                  <a16:creationId xmlns:a16="http://schemas.microsoft.com/office/drawing/2014/main" id="{968F0C77-6FE6-49E9-BAC0-F6D3D677E3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4E0AE3BD-57FA-4431-8D8F-36D90F5C432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17AC8A07-9CFF-46F4-8ADA-525F96CF2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3E084467-5D21-4BEE-B508-F927666F80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66FC9F5A-165E-4D09-88F9-4BF2CAB0A53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B037334F-F1D4-4771-B9B1-FCB04EF1CA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86280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 - Deloitte Blue">
    <p:bg bwMode="gray">
      <p:bgPr>
        <a:solidFill>
          <a:srgbClr val="00558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7ECB11B5-2C44-EB49-8752-C859A9C947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5436"/>
            <a:ext cx="12192000" cy="6920464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0F962B-678A-498B-A789-1AABA8167BB7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BC2FEE15-7322-4EA9-9B51-C9E17E1D753F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7D3FCA04-794C-427D-BD3F-08F1381AE2A2}"/>
              </a:ext>
            </a:extLst>
          </p:cNvPr>
          <p:cNvSpPr txBox="1"/>
          <p:nvPr userDrawn="1"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1 Deloitte Development LLC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E1AC4F-974A-4D72-B553-35584B4CE8B9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02553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 - Deloitte Teal">
    <p:bg bwMode="gray">
      <p:bgPr>
        <a:solidFill>
          <a:srgbClr val="004F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7ECB11B5-2C44-EB49-8752-C859A9C947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5436"/>
            <a:ext cx="12192000" cy="6920464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0F962B-678A-498B-A789-1AABA8167BB7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BC2FEE15-7322-4EA9-9B51-C9E17E1D753F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7D3FCA04-794C-427D-BD3F-08F1381AE2A2}"/>
              </a:ext>
            </a:extLst>
          </p:cNvPr>
          <p:cNvSpPr txBox="1"/>
          <p:nvPr userDrawn="1"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1 Deloitte Development LLC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E1AC4F-974A-4D72-B553-35584B4CE8B9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10296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65288"/>
            <a:ext cx="9277349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36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8458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2455228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1AA219-3285-40E3-9146-7A9E17B0F4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400698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6729413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6729413" algn="r"/>
              </a:tabLst>
              <a:defRPr>
                <a:latin typeface="+mn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6729413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6729413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56660C-D97A-4199-9DB7-D8D50E3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322450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95300" y="1665288"/>
            <a:ext cx="2796541" cy="471646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1000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665287"/>
            <a:ext cx="7916331" cy="4716461"/>
          </a:xfrm>
        </p:spPr>
        <p:txBody>
          <a:bodyPr>
            <a:noAutofit/>
          </a:bodyPr>
          <a:lstStyle>
            <a:lvl1pPr marL="0" indent="0" algn="l">
              <a:spcBef>
                <a:spcPts val="1662"/>
              </a:spcBef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7C54E12-F787-4B6D-B957-5BFB290BB220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ED842BC5-6476-461F-92C1-0BBC55269B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D5047E5-5216-4426-B515-7CA5331481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D0A93C1C-3209-487D-B5A2-563BA5D67C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8C70728D-0A6F-4BF8-A124-23D8A2DF30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B2CEECF2-0C1E-4BBC-BE4A-BC449A26DC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3B9E0F32-14A5-493D-83F2-F42588B924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692FD902-0E73-43D0-B1B8-FA25CD54F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BCD3C252-8F19-4706-8A09-E47384633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32BC4765-ECD3-44BD-AD71-FC51A8134E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E37FCFBA-6C21-49F1-BD1E-969002567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329D6D4-38CD-4379-9FC6-B6687A49C859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AE6ED15D-2C57-4909-970A-202D915A4F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5BD4E32B-226F-46EB-B601-3856A02B70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0F1AAD0C-B296-45B7-9E5A-20BD287701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FD121C73-5C5C-4360-8EB5-E75E90671D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7820EBA0-29B2-457F-8C42-C6999B8C21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6AA7EA11-CDBF-464E-9243-90C6230956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B624E1B1-6657-49A0-B80A-E1FD4DF1BA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E86B2E42-0E10-4A70-B9EF-DB7E343E4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280D859B-0685-4D23-B179-9E42323AB7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B7BF240D-03CC-44FA-B191-E59014FCD7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A2DCA97-92B7-4E52-BE6A-904A9D22F29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9" name="Oval 5">
              <a:extLst>
                <a:ext uri="{FF2B5EF4-FFF2-40B4-BE49-F238E27FC236}">
                  <a16:creationId xmlns:a16="http://schemas.microsoft.com/office/drawing/2014/main" id="{02A83B32-097D-4E01-B3A8-77C4838595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30E27498-E91D-41E0-A196-9E2FB8692F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1" name="Rectangle 7">
              <a:extLst>
                <a:ext uri="{FF2B5EF4-FFF2-40B4-BE49-F238E27FC236}">
                  <a16:creationId xmlns:a16="http://schemas.microsoft.com/office/drawing/2014/main" id="{524DBE99-D543-47AC-A2B6-25395BDB7D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2" name="Freeform 8">
              <a:extLst>
                <a:ext uri="{FF2B5EF4-FFF2-40B4-BE49-F238E27FC236}">
                  <a16:creationId xmlns:a16="http://schemas.microsoft.com/office/drawing/2014/main" id="{209C606A-12E7-40E3-A6B8-DEE79173C9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3" name="Rectangle 9">
              <a:extLst>
                <a:ext uri="{FF2B5EF4-FFF2-40B4-BE49-F238E27FC236}">
                  <a16:creationId xmlns:a16="http://schemas.microsoft.com/office/drawing/2014/main" id="{73ED221B-16E3-4EBE-8EBC-9F66E803CB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4" name="Rectangle 10">
              <a:extLst>
                <a:ext uri="{FF2B5EF4-FFF2-40B4-BE49-F238E27FC236}">
                  <a16:creationId xmlns:a16="http://schemas.microsoft.com/office/drawing/2014/main" id="{0D697A95-88D2-47F0-B4DF-915E2EDEDB5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5" name="Freeform 11">
              <a:extLst>
                <a:ext uri="{FF2B5EF4-FFF2-40B4-BE49-F238E27FC236}">
                  <a16:creationId xmlns:a16="http://schemas.microsoft.com/office/drawing/2014/main" id="{960B0F46-3D82-4FFC-B9BB-9D5BF8DA27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6" name="Freeform 12">
              <a:extLst>
                <a:ext uri="{FF2B5EF4-FFF2-40B4-BE49-F238E27FC236}">
                  <a16:creationId xmlns:a16="http://schemas.microsoft.com/office/drawing/2014/main" id="{DBC1DB9C-3617-4E82-B521-DF02390A43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7" name="Freeform 13">
              <a:extLst>
                <a:ext uri="{FF2B5EF4-FFF2-40B4-BE49-F238E27FC236}">
                  <a16:creationId xmlns:a16="http://schemas.microsoft.com/office/drawing/2014/main" id="{265776A6-2E98-464E-8730-90C3148BA8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8" name="Freeform 14">
              <a:extLst>
                <a:ext uri="{FF2B5EF4-FFF2-40B4-BE49-F238E27FC236}">
                  <a16:creationId xmlns:a16="http://schemas.microsoft.com/office/drawing/2014/main" id="{44252080-8419-4833-996E-5F1D7B09FF4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435820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665288"/>
            <a:ext cx="6240000" cy="4716463"/>
          </a:xfrm>
        </p:spPr>
        <p:txBody>
          <a:bodyPr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>
                <a:latin typeface="+mn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632EF4-0628-41B2-82A6-C4B3B1304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666503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CB6144-2726-4520-8393-B7B337E0F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FA3F73AF-7771-204E-86AB-AF9A33E80403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A89AB86D-23C7-BF41-90B1-22ADB149797F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b="0" noProof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Copyright © 2021 Deloitte Development LLC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1B64605-1F7B-B74A-BE95-88E701A0AAEB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593146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CB6144-2726-4520-8393-B7B337E0F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380367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0250D39-3CD2-434D-B748-17EED0F3A2F1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E29F2EAE-0B0B-4311-B8C7-B92308FDB4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DD66D6FD-671C-4971-84E7-3F95D681AA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A0D0BAEB-42C5-4909-8FAE-D062C50979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A442559A-2DAB-4A59-908E-A9F3003354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3319EAFB-82E3-4AA5-8E76-BCBFD4851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1B86A800-7B43-42DC-8F55-2BE218DAA8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74D7DE78-318C-43DC-8425-6815074FD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8B9FF502-04DE-4886-8EC5-F59E2DDA7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AFD2C9A9-58B2-40D7-900D-9935E569C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FBFCAACE-51E1-460B-B814-DB6E1935A9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35D988E-AB9B-4338-8B0B-A9D2FBBD359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900D145D-F249-4360-A851-84590354DE0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DA91093B-1D7D-4E9C-80DD-053FD0C928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4" name="Rectangle 7">
              <a:extLst>
                <a:ext uri="{FF2B5EF4-FFF2-40B4-BE49-F238E27FC236}">
                  <a16:creationId xmlns:a16="http://schemas.microsoft.com/office/drawing/2014/main" id="{D75F7421-C68D-4202-A0E2-B866717DDEF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6DE98E27-9E3D-4174-9895-EE41667C63A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6" name="Rectangle 9">
              <a:extLst>
                <a:ext uri="{FF2B5EF4-FFF2-40B4-BE49-F238E27FC236}">
                  <a16:creationId xmlns:a16="http://schemas.microsoft.com/office/drawing/2014/main" id="{A400316F-9B75-46A7-B1DF-72DD3623FD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80392710-6741-4A2A-B74E-E7E47B6F6C9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7E5628F7-91B4-40CC-93AA-15FE7FE83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705DD4AC-A5BB-439E-AD61-E7E5A2A00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B332C818-B977-4B0B-BF7A-3565E9B5BE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01AFB913-ABEF-4721-A184-6CE57CC2AA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15616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5341607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52607273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665289"/>
            <a:ext cx="6240000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CFBECF-F261-4066-B77C-A1FCF54AA0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E9BEEDA-6F6F-4BD9-B1D8-9731D1B03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1489188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8113661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895692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584108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4C2095-0900-4569-A109-645CF4777A8D}"/>
              </a:ext>
            </a:extLst>
          </p:cNvPr>
          <p:cNvSpPr/>
          <p:nvPr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8A3CDF-F5A1-44AC-9648-5A3D0461AB03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A9EEEA-4AE4-43FE-9262-BC961D83A4C2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50DA35B-33FF-43EA-B25A-C41FAE3895FE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FDB6557-D6FD-466B-8D3E-3CA708F12E73}"/>
              </a:ext>
            </a:extLst>
          </p:cNvPr>
          <p:cNvSpPr/>
          <p:nvPr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FB24D0F-7771-4CE5-8960-0A3E81C0F642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77787FC-D28B-408A-8718-323CBB5A4885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843AFDC-68A4-4D09-8F2E-8F5868A21405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1E9E8D4-00A2-44E2-A14B-6AEA5102B278}"/>
              </a:ext>
            </a:extLst>
          </p:cNvPr>
          <p:cNvSpPr/>
          <p:nvPr userDrawn="1"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EFD725F-23DE-4826-A867-5F9CE983F8F2}"/>
              </a:ext>
            </a:extLst>
          </p:cNvPr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AC698B6-FF29-48D7-A20E-957F651B531E}"/>
              </a:ext>
            </a:extLst>
          </p:cNvPr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41289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90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3703CC-2625-4A3C-9057-35BB359C858C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7003E-0D5A-4199-A9D0-BFB3CBF4A0D4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31FFC15-3C97-48B0-861A-657AC081F266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5725472-BC96-48FD-96B0-C09B68923B28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75FA341-4A36-4ACA-8A69-078973CB3576}"/>
              </a:ext>
            </a:extLst>
          </p:cNvPr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A340598-BE63-4AF2-A3A7-B484B6E166D5}"/>
              </a:ext>
            </a:extLst>
          </p:cNvPr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3618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2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49682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49682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32462FA-7D20-4E6B-9335-5F0CC56925D0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AF616D-3F67-4FD6-BC16-ABC13A0ACA22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986DCA-1B97-4EC9-A852-97E5340E26DC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1E9D44-54F1-4CE7-8FDF-78DC08D29E3F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E12908D-2FA0-48AB-B2FF-08FF433571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DB1A9EF-276C-4FE9-B33D-E2267D9DB4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619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2A7C1E0-8314-4B78-902A-0828B984B2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7297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057B8DE-1E5B-4E78-8FC1-456B14A880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46194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876540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CD5B122-EABE-4ECA-819A-54D0AA2130F9}"/>
              </a:ext>
            </a:extLst>
          </p:cNvPr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F78E2E-2B9E-4E32-8A54-BC55293CD3C9}"/>
              </a:ext>
            </a:extLst>
          </p:cNvPr>
          <p:cNvSpPr/>
          <p:nvPr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0F314D-E019-4AD3-B954-818463FF0B9D}"/>
              </a:ext>
            </a:extLst>
          </p:cNvPr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39EC70-7463-4AC3-840B-4FCA6DF397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2874" y="185789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85F1297-532C-478B-8C8C-A7A406ADF2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25938" y="186148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2E6BFE1-0779-4417-985A-E1020673A1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48737" y="1857890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287170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05274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674087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674087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674087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6365517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6715C-C932-49B3-880D-8C5710C8F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40241979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3267024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5195586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Full Blee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45452D8-8F21-0C4E-9A83-DE459B0158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715"/>
            <a:ext cx="12192000" cy="6850569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539430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-Full Blee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computer keyboard&#10;&#10;Description automatically generated with low confidence">
            <a:extLst>
              <a:ext uri="{FF2B5EF4-FFF2-40B4-BE49-F238E27FC236}">
                <a16:creationId xmlns:a16="http://schemas.microsoft.com/office/drawing/2014/main" id="{E82A6CC6-BC47-904D-B0FD-76A9EAABD8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990" y="851338"/>
            <a:ext cx="12192000" cy="600666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049058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-Full Blee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82A6CC6-BC47-904D-B0FD-76A9EAABD8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32701"/>
            <a:ext cx="12192000" cy="553621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113785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-Full Blee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82A6CC6-BC47-904D-B0FD-76A9EAABD8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332701"/>
            <a:ext cx="12192000" cy="553621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solidFill>
                  <a:schemeClr val="bg1"/>
                </a:solidFill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7246511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8983420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459756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4CB94C39-8B87-5C4B-9C17-68F29CB21B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5436"/>
            <a:ext cx="12192000" cy="692046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1F907F8-2208-4940-8D2D-F7CC61BF7E3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ED085EA-F5FD-204A-9146-361401A33B98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69695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55649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562463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4464A84-542A-4D1A-8583-EEE0342E31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2EEE0C-4EE5-49C0-A99D-660B1A86B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9552164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7ADCA4F2-9E48-F244-9BBF-2116139680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42216" y="1052576"/>
            <a:ext cx="7952197" cy="5803900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4464A84-542A-4D1A-8583-EEE0342E31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2EEE0C-4EE5-49C0-A99D-660B1A86B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77401626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4464A84-542A-4D1A-8583-EEE0342E31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2EEE0C-4EE5-49C0-A99D-660B1A86B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0715929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Key statemen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Background pattern&#10;&#10;Description automatically generated">
            <a:extLst>
              <a:ext uri="{FF2B5EF4-FFF2-40B4-BE49-F238E27FC236}">
                <a16:creationId xmlns:a16="http://schemas.microsoft.com/office/drawing/2014/main" id="{E0453B57-B0D5-1F4E-BF68-AE443ED2B1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6453357" y="850032"/>
            <a:ext cx="6367672" cy="4667608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aseCode">
            <a:extLst>
              <a:ext uri="{FF2B5EF4-FFF2-40B4-BE49-F238E27FC236}">
                <a16:creationId xmlns:a16="http://schemas.microsoft.com/office/drawing/2014/main" id="{FA9F65BC-7533-43CA-92A0-A245602E6E61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062DEA33-D70F-464E-8310-21426B95E5BC}"/>
              </a:ext>
            </a:extLst>
          </p:cNvPr>
          <p:cNvSpPr txBox="1"/>
          <p:nvPr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0 Deloitte Development LLC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88BC9E-0C2C-4EB3-82B0-F3C9CEC9B2FE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1D5D98AB-52FC-43D3-8119-E97BF2D6F468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D59DF38B-3D5A-46E1-8577-421AB8CF7A39}"/>
              </a:ext>
            </a:extLst>
          </p:cNvPr>
          <p:cNvSpPr txBox="1"/>
          <p:nvPr userDrawn="1"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0 Deloitte Development LLC. All rights reserved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3E01FCD-2EE0-419C-89FE-14C2438A7FD1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7593161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062DEA33-D70F-464E-8310-21426B95E5BC}"/>
              </a:ext>
            </a:extLst>
          </p:cNvPr>
          <p:cNvSpPr txBox="1"/>
          <p:nvPr/>
        </p:nvSpPr>
        <p:spPr>
          <a:xfrm>
            <a:off x="469900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1 Deloitte Development LLC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88BC9E-0C2C-4EB3-82B0-F3C9CEC9B2FE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1D5D98AB-52FC-43D3-8119-E97BF2D6F468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3E01FCD-2EE0-419C-89FE-14C2438A7FD1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" name="Picture 11" descr="Background pattern&#10;&#10;Description automatically generated">
            <a:extLst>
              <a:ext uri="{FF2B5EF4-FFF2-40B4-BE49-F238E27FC236}">
                <a16:creationId xmlns:a16="http://schemas.microsoft.com/office/drawing/2014/main" id="{EA0CCDF9-0CE4-CB4D-886C-87692FC246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143567" y="1185756"/>
            <a:ext cx="7044730" cy="4465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50279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9" y="4211955"/>
            <a:ext cx="2319503" cy="1725448"/>
          </a:xfrm>
        </p:spPr>
        <p:txBody>
          <a:bodyPr anchor="ctr" anchorCtr="0"/>
          <a:lstStyle>
            <a:lvl1pPr algn="ctr">
              <a:defRPr sz="675"/>
            </a:lvl1pPr>
          </a:lstStyle>
          <a:p>
            <a:r>
              <a:rPr lang="en-GB" sz="675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1" y="6018028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0683992-E2D9-4A7F-985E-3EEDF9E4158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4A43E969-ECC9-4A2B-99BD-4E66B33EDA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DCCB5A79-40EE-4B73-9B49-597C92075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78C1DA1C-9988-40E2-A2B5-C957B41769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7FF8C6C2-C845-49E8-9DB6-012D7004B2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42D607E7-411D-49B5-B19A-26CCD55327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435F648D-A283-495F-BA4E-A7DBFF0F42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AB2A403B-5633-4D74-A742-6F09315D7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E4EBD3EF-692C-4FB7-91EB-2DB640EC5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CEC673F8-1A3A-4CAE-9904-87474B3905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10E7F45D-8E34-4D1C-9D45-160C265743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28773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&#10;&#10;Description automatically generated">
            <a:extLst>
              <a:ext uri="{FF2B5EF4-FFF2-40B4-BE49-F238E27FC236}">
                <a16:creationId xmlns:a16="http://schemas.microsoft.com/office/drawing/2014/main" id="{34F5B603-8BEE-C94E-8E56-823C3D6BC5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6188" y="1115180"/>
            <a:ext cx="8405812" cy="532792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1F907F8-2208-4940-8D2D-F7CC61BF7E3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ED085EA-F5FD-204A-9146-361401A33B98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21202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4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861288AB-9C93-D640-A929-B71E3CD02A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5436"/>
            <a:ext cx="12192000" cy="692046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D313D6-5A4E-4826-A4D4-3C0F692F9570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DAF3337D-4793-4191-8FE2-2BD1EAA16ADA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DF09F051-A0EE-4A49-AC25-A3F0C2C11889}"/>
              </a:ext>
            </a:extLst>
          </p:cNvPr>
          <p:cNvSpPr txBox="1"/>
          <p:nvPr userDrawn="1"/>
        </p:nvSpPr>
        <p:spPr>
          <a:xfrm>
            <a:off x="469901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0 Deloitte Development LLC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068994-6C10-4E3B-B991-802F0F138B9D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2927CF1-BAB3-EB46-AF8C-D8C059A6943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4A7D03D-9579-F145-AA7E-F28AB0EDF30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876379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dark&#10;&#10;Description automatically generated">
            <a:extLst>
              <a:ext uri="{FF2B5EF4-FFF2-40B4-BE49-F238E27FC236}">
                <a16:creationId xmlns:a16="http://schemas.microsoft.com/office/drawing/2014/main" id="{C53474EA-1434-604A-965E-350A709D1C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56817" y="751647"/>
            <a:ext cx="6322874" cy="5725353"/>
          </a:xfrm>
          <a:prstGeom prst="rect">
            <a:avLst/>
          </a:prstGeom>
        </p:spPr>
      </p:pic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7ECB11B5-2C44-EB49-8752-C859A9C9479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09" y="790103"/>
            <a:ext cx="12193294" cy="6921199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0F962B-678A-498B-A789-1AABA8167BB7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BC2FEE15-7322-4EA9-9B51-C9E17E1D753F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7D3FCA04-794C-427D-BD3F-08F1381AE2A2}"/>
              </a:ext>
            </a:extLst>
          </p:cNvPr>
          <p:cNvSpPr txBox="1"/>
          <p:nvPr userDrawn="1"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1 Deloitte Development LLC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E1AC4F-974A-4D72-B553-35584B4CE8B9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33906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7ECB11B5-2C44-EB49-8752-C859A9C947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5436"/>
            <a:ext cx="12192000" cy="692046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0F962B-678A-498B-A789-1AABA8167BB7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BC2FEE15-7322-4EA9-9B51-C9E17E1D753F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7D3FCA04-794C-427D-BD3F-08F1381AE2A2}"/>
              </a:ext>
            </a:extLst>
          </p:cNvPr>
          <p:cNvSpPr txBox="1"/>
          <p:nvPr userDrawn="1"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1 Deloitte Development LLC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E1AC4F-974A-4D72-B553-35584B4CE8B9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0B26E2-7A1D-4143-86B7-99E73A374CC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63F4744-9003-2540-9EBB-077F2D01E275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05798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- Deloitte green">
    <p:bg bwMode="gray"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7ECB11B5-2C44-EB49-8752-C859A9C947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5436"/>
            <a:ext cx="12192000" cy="6920464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32100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0F962B-678A-498B-A789-1AABA8167BB7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BC2FEE15-7322-4EA9-9B51-C9E17E1D753F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netic Enterpris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7D3FCA04-794C-427D-BD3F-08F1381AE2A2}"/>
              </a:ext>
            </a:extLst>
          </p:cNvPr>
          <p:cNvSpPr txBox="1"/>
          <p:nvPr userDrawn="1"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1 Deloitte Development LLC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E1AC4F-974A-4D72-B553-35584B4CE8B9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4146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418403481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5277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4063" r:id="rId5"/>
    <p:sldLayoutId id="2147483998" r:id="rId6"/>
    <p:sldLayoutId id="2147483999" r:id="rId7"/>
    <p:sldLayoutId id="2147484064" r:id="rId8"/>
    <p:sldLayoutId id="2147484046" r:id="rId9"/>
    <p:sldLayoutId id="2147484047" r:id="rId10"/>
    <p:sldLayoutId id="2147484048" r:id="rId11"/>
    <p:sldLayoutId id="2147484000" r:id="rId12"/>
    <p:sldLayoutId id="2147484001" r:id="rId13"/>
    <p:sldLayoutId id="2147484002" r:id="rId14"/>
    <p:sldLayoutId id="2147484003" r:id="rId15"/>
    <p:sldLayoutId id="2147484004" r:id="rId16"/>
    <p:sldLayoutId id="2147484005" r:id="rId17"/>
    <p:sldLayoutId id="2147484006" r:id="rId18"/>
    <p:sldLayoutId id="2147484062" r:id="rId19"/>
    <p:sldLayoutId id="2147484008" r:id="rId20"/>
    <p:sldLayoutId id="2147484009" r:id="rId21"/>
    <p:sldLayoutId id="2147484010" r:id="rId22"/>
    <p:sldLayoutId id="2147484011" r:id="rId23"/>
    <p:sldLayoutId id="2147484012" r:id="rId24"/>
    <p:sldLayoutId id="2147484013" r:id="rId25"/>
    <p:sldLayoutId id="2147484014" r:id="rId26"/>
    <p:sldLayoutId id="2147484015" r:id="rId27"/>
    <p:sldLayoutId id="2147484016" r:id="rId28"/>
    <p:sldLayoutId id="2147484017" r:id="rId29"/>
    <p:sldLayoutId id="2147484018" r:id="rId30"/>
    <p:sldLayoutId id="2147484019" r:id="rId31"/>
    <p:sldLayoutId id="2147484020" r:id="rId32"/>
    <p:sldLayoutId id="2147484021" r:id="rId33"/>
    <p:sldLayoutId id="2147484041" r:id="rId34"/>
    <p:sldLayoutId id="2147484060" r:id="rId35"/>
    <p:sldLayoutId id="2147484061" r:id="rId36"/>
    <p:sldLayoutId id="2147484065" r:id="rId37"/>
    <p:sldLayoutId id="2147484022" r:id="rId38"/>
    <p:sldLayoutId id="2147484023" r:id="rId39"/>
    <p:sldLayoutId id="2147484024" r:id="rId40"/>
    <p:sldLayoutId id="2147484025" r:id="rId41"/>
    <p:sldLayoutId id="2147484027" r:id="rId42"/>
    <p:sldLayoutId id="2147484042" r:id="rId43"/>
    <p:sldLayoutId id="2147484043" r:id="rId44"/>
    <p:sldLayoutId id="2147484045" r:id="rId45"/>
    <p:sldLayoutId id="2147484044" r:id="rId46"/>
    <p:sldLayoutId id="2147484040" r:id="rId47"/>
  </p:sldLayoutIdLst>
  <p:transition>
    <p:fade/>
  </p:transition>
  <p:hf hdr="0" ft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2" orient="horz" pos="640">
          <p15:clr>
            <a:srgbClr val="F26B43"/>
          </p15:clr>
        </p15:guide>
        <p15:guide id="64" pos="5098" userDrawn="1">
          <p15:clr>
            <a:srgbClr val="F26B43"/>
          </p15:clr>
        </p15:guide>
        <p15:guide id="65" orient="horz" pos="2160" userDrawn="1">
          <p15:clr>
            <a:srgbClr val="F26B43"/>
          </p15:clr>
        </p15:guide>
        <p15:guide id="66" orient="horz" pos="3968" userDrawn="1">
          <p15:clr>
            <a:srgbClr val="F26B43"/>
          </p15:clr>
        </p15:guide>
        <p15:guide id="67" pos="312" userDrawn="1">
          <p15:clr>
            <a:srgbClr val="F26B43"/>
          </p15:clr>
        </p15:guide>
        <p15:guide id="68" pos="7368" userDrawn="1">
          <p15:clr>
            <a:srgbClr val="F26B43"/>
          </p15:clr>
        </p15:guide>
        <p15:guide id="69" orient="horz" pos="245" userDrawn="1">
          <p15:clr>
            <a:srgbClr val="F26B43"/>
          </p15:clr>
        </p15:guide>
        <p15:guide id="70" orient="horz" pos="4081" userDrawn="1">
          <p15:clr>
            <a:srgbClr val="F26B43"/>
          </p15:clr>
        </p15:guide>
        <p15:guide id="71" pos="4986" userDrawn="1">
          <p15:clr>
            <a:srgbClr val="F26B43"/>
          </p15:clr>
        </p15:guide>
        <p15:guide id="72" pos="1382" userDrawn="1">
          <p15:clr>
            <a:srgbClr val="F26B43"/>
          </p15:clr>
        </p15:guide>
        <p15:guide id="73" pos="1496" userDrawn="1">
          <p15:clr>
            <a:srgbClr val="F26B43"/>
          </p15:clr>
        </p15:guide>
        <p15:guide id="74" pos="2581" userDrawn="1">
          <p15:clr>
            <a:srgbClr val="F26B43"/>
          </p15:clr>
        </p15:guide>
        <p15:guide id="75" pos="2695" userDrawn="1">
          <p15:clr>
            <a:srgbClr val="F26B43"/>
          </p15:clr>
        </p15:guide>
        <p15:guide id="76" pos="6185" userDrawn="1">
          <p15:clr>
            <a:srgbClr val="F26B43"/>
          </p15:clr>
        </p15:guide>
        <p15:guide id="77" pos="3783" userDrawn="1">
          <p15:clr>
            <a:srgbClr val="F26B43"/>
          </p15:clr>
        </p15:guide>
        <p15:guide id="78" pos="3896" userDrawn="1">
          <p15:clr>
            <a:srgbClr val="F26B43"/>
          </p15:clr>
        </p15:guide>
        <p15:guide id="79" pos="3840" userDrawn="1">
          <p15:clr>
            <a:srgbClr val="F26B43"/>
          </p15:clr>
        </p15:guide>
        <p15:guide id="80" pos="6299" userDrawn="1">
          <p15:clr>
            <a:srgbClr val="F26B43"/>
          </p15:clr>
        </p15:guide>
        <p15:guide id="81" orient="horz" pos="1049" userDrawn="1">
          <p15:clr>
            <a:srgbClr val="F26B43"/>
          </p15:clr>
        </p15:guide>
        <p15:guide id="82" orient="horz" pos="641" userDrawn="1">
          <p15:clr>
            <a:srgbClr val="F26B43"/>
          </p15:clr>
        </p15:guide>
        <p15:guide id="83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B58598A-3661-FE4F-B2F9-CDB4F6EFEFD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2048" y="5257803"/>
            <a:ext cx="1483061" cy="148306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D499F5B-62DD-D34B-8F92-57604AD4AE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87532" y="-79468"/>
            <a:ext cx="7016936" cy="7016936"/>
          </a:xfrm>
          <a:prstGeom prst="rect">
            <a:avLst/>
          </a:prstGeom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DE5B9CEA-5E73-4E22-8C75-E8D43059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1651" y="5186207"/>
            <a:ext cx="4592405" cy="895983"/>
          </a:xfrm>
        </p:spPr>
        <p:txBody>
          <a:bodyPr/>
          <a:lstStyle/>
          <a:p>
            <a:r>
              <a:rPr lang="en-US" dirty="0">
                <a:latin typeface="Calibri Light"/>
                <a:ea typeface="Open Sans"/>
                <a:cs typeface="Calibri Light"/>
              </a:rPr>
              <a:t>Close, Consolidation and Planning Workshop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32FDBD-DA5A-F9F9-DED5-80BFE0C078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195729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A0628AC-865C-420D-A875-119AB70766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tions</a:t>
            </a:r>
          </a:p>
        </p:txBody>
      </p:sp>
    </p:spTree>
    <p:extLst>
      <p:ext uri="{BB962C8B-B14F-4D97-AF65-F5344CB8AC3E}">
        <p14:creationId xmlns:p14="http://schemas.microsoft.com/office/powerpoint/2010/main" val="4029359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4">
            <a:extLst>
              <a:ext uri="{FF2B5EF4-FFF2-40B4-BE49-F238E27FC236}">
                <a16:creationId xmlns:a16="http://schemas.microsoft.com/office/drawing/2014/main" id="{60644CDB-03DB-4EC6-984E-5552302007FA}"/>
              </a:ext>
            </a:extLst>
          </p:cNvPr>
          <p:cNvSpPr txBox="1">
            <a:spLocks/>
          </p:cNvSpPr>
          <p:nvPr/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 sz="3000" b="1"/>
              <a:t>Objective</a:t>
            </a:r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82549B7C-F0FA-419F-A057-F2CE77019DB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7980399"/>
              </p:ext>
            </p:extLst>
          </p:nvPr>
        </p:nvGraphicFramePr>
        <p:xfrm>
          <a:off x="796263" y="1309655"/>
          <a:ext cx="10533763" cy="38171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728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6609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91269">
                <a:tc gridSpan="2">
                  <a:txBody>
                    <a:bodyPr/>
                    <a:lstStyle/>
                    <a:p>
                      <a:pPr marL="0" marR="0" lvl="0" indent="0" algn="ctr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ose, Consolidation and Planning</a:t>
                      </a:r>
                    </a:p>
                  </a:txBody>
                  <a:tcPr marL="45720" marR="4572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defTabSz="684213">
                        <a:tabLst/>
                      </a:pPr>
                      <a:endParaRPr kumimoji="0" lang="en-US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1269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i="0" u="none" strike="noStrike" kern="1200" cap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Duration</a:t>
                      </a:r>
                      <a:endParaRPr lang="en-US" sz="1400" b="1" i="0" u="none" strike="noStrike" kern="1200" cap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/>
                        <a:sym typeface="Arial"/>
                      </a:endParaRPr>
                    </a:p>
                  </a:txBody>
                  <a:tcPr marL="45720" marR="4572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4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Lucida Sans" panose="020B0602040502020204" pitchFamily="34" charset="0"/>
                        </a:rPr>
                        <a:t>2 hours</a:t>
                      </a:r>
                      <a:endParaRPr kumimoji="0" lang="en-US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Lucida Sans" panose="020B0602040502020204" pitchFamily="34" charset="0"/>
                        <a:sym typeface="Arial"/>
                      </a:endParaRPr>
                    </a:p>
                  </a:txBody>
                  <a:tcPr marL="45720" marR="4572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1269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i="0" u="none" strike="noStrike" kern="1200" cap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Objective</a:t>
                      </a:r>
                      <a:endParaRPr lang="en-US" sz="1400" b="1" i="0" u="none" strike="noStrike" kern="1200" cap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/>
                        <a:sym typeface="Arial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 i="0" u="none" strike="noStrike" kern="1200" cap="none" normalizeH="0" baseline="0" noProof="0" dirty="0">
                          <a:ln>
                            <a:noFill/>
                          </a:ln>
                          <a:effectLst/>
                        </a:rPr>
                        <a:t>Review the Oracle EPM capabilities such as Planning &amp; Budgeting and Close &amp;Consolidation that have been enabled for XYZ . Discuss process, master data and reporting related to these areas. </a:t>
                      </a:r>
                      <a:endParaRPr kumimoji="0" lang="en-US" dirty="0">
                        <a:sym typeface="Arial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806057"/>
                  </a:ext>
                </a:extLst>
              </a:tr>
              <a:tr h="491269">
                <a:tc>
                  <a:txBody>
                    <a:bodyPr/>
                    <a:lstStyle/>
                    <a:p>
                      <a:pPr marL="0" marR="0" lvl="0" indent="0" algn="ctr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400" b="1" i="0" u="none" strike="noStrike" kern="1200" cap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Key Activities</a:t>
                      </a:r>
                      <a:endParaRPr lang="en-US" sz="1400" b="1" i="0" u="none" strike="noStrike" kern="1200" cap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/>
                        <a:sym typeface="Arial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rtl="0" eaLnBrk="1" fontAlgn="ctr" latinLnBrk="0" hangingPunct="1"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n-US" sz="1400" b="0" i="0" u="none" strike="noStrike" kern="1200" cap="none" normalizeH="0" baseline="0" noProof="0" dirty="0">
                          <a:ln>
                            <a:noFill/>
                          </a:ln>
                          <a:effectLst/>
                        </a:rPr>
                        <a:t>Review COA structure/dimensions and hierarchies </a:t>
                      </a:r>
                    </a:p>
                    <a:p>
                      <a:pPr marL="342900" marR="0" lvl="0" indent="-342900" algn="l" rtl="0" eaLnBrk="1" fontAlgn="ctr" latinLnBrk="0" hangingPunct="1"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n-US" sz="1400" b="0" i="0" u="none" strike="noStrike" kern="1200" cap="none" normalizeH="0" baseline="0" noProof="0" dirty="0">
                          <a:ln>
                            <a:noFill/>
                          </a:ln>
                          <a:effectLst/>
                        </a:rPr>
                        <a:t>Master Data Management Process </a:t>
                      </a:r>
                    </a:p>
                    <a:p>
                      <a:pPr marL="342900" marR="0" lvl="0" indent="-342900" algn="l" rtl="0" eaLnBrk="1" fontAlgn="ctr" latinLnBrk="0" hangingPunct="1"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n-US" sz="1400" b="0" i="0" u="none" strike="noStrike" kern="1200" cap="none" normalizeH="0" baseline="0" noProof="0" dirty="0">
                          <a:ln>
                            <a:noFill/>
                          </a:ln>
                          <a:effectLst/>
                        </a:rPr>
                        <a:t>Discuss current state process and capability overview </a:t>
                      </a:r>
                    </a:p>
                    <a:p>
                      <a:pPr marL="800100" marR="0" lvl="1" indent="-342900" algn="l" rtl="0" eaLnBrk="1" fontAlgn="ctr" latinLnBrk="0" hangingPunct="1"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n-US" sz="1400" b="0" i="0" u="none" strike="noStrike" kern="1200" cap="none" normalizeH="0" baseline="0" noProof="0" dirty="0">
                          <a:ln>
                            <a:noFill/>
                          </a:ln>
                          <a:effectLst/>
                        </a:rPr>
                        <a:t>Close and Consolidation</a:t>
                      </a:r>
                    </a:p>
                    <a:p>
                      <a:pPr marL="800100" marR="0" lvl="1" indent="-342900" algn="l" rtl="0" eaLnBrk="1" fontAlgn="ctr" latinLnBrk="0" hangingPunct="1"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n-US" sz="1400" b="0" i="0" u="none" strike="noStrike" kern="1200" cap="none" normalizeH="0" baseline="0" noProof="0" dirty="0">
                          <a:ln>
                            <a:noFill/>
                          </a:ln>
                          <a:effectLst/>
                        </a:rPr>
                        <a:t>Planning</a:t>
                      </a:r>
                    </a:p>
                    <a:p>
                      <a:pPr marL="342900" marR="0" lvl="0" indent="-342900" algn="l" rtl="0" eaLnBrk="1" fontAlgn="ctr" latinLnBrk="0" hangingPunct="1"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n-US" sz="1400" b="0" i="0" u="none" strike="noStrike" kern="1200" cap="none" normalizeH="0" baseline="0" noProof="0" dirty="0">
                          <a:ln>
                            <a:noFill/>
                          </a:ln>
                          <a:effectLst/>
                        </a:rPr>
                        <a:t>Reporting for close and planning </a:t>
                      </a:r>
                    </a:p>
                    <a:p>
                      <a:pPr marL="342900" marR="0" lvl="0" indent="-342900" algn="l" rtl="0" eaLnBrk="1" fontAlgn="ctr" latinLnBrk="0" hangingPunct="1"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n-US" sz="1400" b="0" i="0" u="none" strike="noStrike" kern="1200" cap="none" normalizeH="0" baseline="0" noProof="0" dirty="0">
                          <a:ln>
                            <a:noFill/>
                          </a:ln>
                          <a:effectLst/>
                        </a:rPr>
                        <a:t>Media Buy deep dive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8146689"/>
                  </a:ext>
                </a:extLst>
              </a:tr>
              <a:tr h="491269">
                <a:tc>
                  <a:txBody>
                    <a:bodyPr/>
                    <a:lstStyle/>
                    <a:p>
                      <a:pPr marL="0" marR="0" lvl="0" indent="0" algn="ctr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400" b="1" i="0" u="none" strike="noStrike" kern="1200" cap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What this is not</a:t>
                      </a:r>
                      <a:endParaRPr lang="en-US" sz="1400" b="1" i="0" u="none" strike="noStrike" kern="1200" cap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/>
                        <a:sym typeface="Arial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rtl="0" eaLnBrk="1" fontAlgn="ctr" latinLnBrk="0" hangingPunct="1"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n-US" sz="1400" b="0" i="0" u="none" strike="noStrike" kern="1200" cap="none" normalizeH="0" baseline="0" noProof="0" dirty="0">
                          <a:ln>
                            <a:noFill/>
                          </a:ln>
                          <a:effectLst/>
                        </a:rPr>
                        <a:t>Design future state processes, finalize design decisions  </a:t>
                      </a:r>
                    </a:p>
                    <a:p>
                      <a:pPr marL="34290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n-US" sz="1400" b="0" i="0" u="none" strike="noStrike" kern="1200" cap="none" normalizeH="0" baseline="0" noProof="0" dirty="0">
                          <a:ln>
                            <a:noFill/>
                          </a:ln>
                          <a:effectLst/>
                        </a:rPr>
                        <a:t>Gather Requirements </a:t>
                      </a:r>
                    </a:p>
                    <a:p>
                      <a:pPr marL="34290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n-US" sz="1400" b="0" i="0" u="none" strike="noStrike" kern="1200" cap="none" normalizeH="0" baseline="0" noProof="0" dirty="0">
                          <a:ln>
                            <a:noFill/>
                          </a:ln>
                          <a:effectLst/>
                        </a:rPr>
                        <a:t>Perform Fit-Gap analysis and solutions for business requirements </a:t>
                      </a:r>
                      <a:endParaRPr kumimoji="0" lang="en-US" dirty="0">
                        <a:sym typeface="Arial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41190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196819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C7F9345-1174-0042-BEDF-B56A7EED2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77" y="2125347"/>
            <a:ext cx="10418233" cy="680995"/>
          </a:xfrm>
        </p:spPr>
        <p:txBody>
          <a:bodyPr/>
          <a:lstStyle/>
          <a:p>
            <a:r>
              <a:rPr lang="en-US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1687400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Content Placeholder 5">
            <a:extLst>
              <a:ext uri="{FF2B5EF4-FFF2-40B4-BE49-F238E27FC236}">
                <a16:creationId xmlns:a16="http://schemas.microsoft.com/office/drawing/2014/main" id="{4C9539E2-19C1-4059-9EE9-48A471AC4EEA}"/>
              </a:ext>
            </a:extLst>
          </p:cNvPr>
          <p:cNvGraphicFramePr>
            <a:graphicFrameLocks/>
          </p:cNvGraphicFramePr>
          <p:nvPr/>
        </p:nvGraphicFramePr>
        <p:xfrm>
          <a:off x="603839" y="777827"/>
          <a:ext cx="11325480" cy="6093624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265096">
                  <a:extLst>
                    <a:ext uri="{9D8B030D-6E8A-4147-A177-3AD203B41FA5}">
                      <a16:colId xmlns:a16="http://schemas.microsoft.com/office/drawing/2014/main" val="2407140380"/>
                    </a:ext>
                  </a:extLst>
                </a:gridCol>
                <a:gridCol w="22650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650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650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650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889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unday</a:t>
                      </a: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bg1"/>
                          </a:solidFill>
                        </a:rPr>
                        <a:t>Monday</a:t>
                      </a:r>
                      <a:r>
                        <a:rPr lang="en-US" sz="1100" b="1" kern="1200">
                          <a:solidFill>
                            <a:schemeClr val="bg1"/>
                          </a:solidFill>
                        </a:rPr>
                        <a:t> </a:t>
                      </a:r>
                      <a:endParaRPr lang="en-US" sz="1100" b="1" kern="1200">
                        <a:solidFill>
                          <a:schemeClr val="bg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bg1"/>
                          </a:solidFill>
                        </a:rPr>
                        <a:t>Tuesday</a:t>
                      </a:r>
                      <a:endParaRPr lang="en-US" sz="1400" b="1" kern="1200">
                        <a:solidFill>
                          <a:schemeClr val="bg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bg1"/>
                          </a:solidFill>
                        </a:rPr>
                        <a:t>Wednesday</a:t>
                      </a:r>
                      <a:endParaRPr lang="en-US" sz="1400" b="1" kern="1200">
                        <a:solidFill>
                          <a:schemeClr val="bg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bg1"/>
                          </a:solidFill>
                        </a:rPr>
                        <a:t>Thursday</a:t>
                      </a:r>
                      <a:endParaRPr lang="en-US" sz="1400" b="1" kern="1200">
                        <a:solidFill>
                          <a:schemeClr val="bg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47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>
                        <a:solidFill>
                          <a:schemeClr val="dk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 dirty="0">
                        <a:solidFill>
                          <a:schemeClr val="dk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 dirty="0">
                        <a:solidFill>
                          <a:schemeClr val="dk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Current architecture and integrations (2 hrs.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kern="1200" baseline="0" dirty="0">
                        <a:solidFill>
                          <a:schemeClr val="dk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 dirty="0">
                        <a:solidFill>
                          <a:schemeClr val="dk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116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Procure to Pay Solution Walkthrough (1.5 hrs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Financial Close, Consolidation and Planning Solution Walkthrough (2 hrs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15275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Legal Entity &amp; Operating Model (1 hr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Supplier Payment Processing (1 hr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Record to Report – Corporate Accounting 1 – COA and GL (2 hrs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Record to Report – Asset Accounting (2 hrs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527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>
                        <a:solidFill>
                          <a:schemeClr val="dk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Record to Report – Corporate Accounting 2  - IC, Close and Reconcile (includes ARCS) (2.5 hrs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5587"/>
                        </a:solidFill>
                        <a:effectLst/>
                        <a:uLnTx/>
                        <a:uFillTx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 dirty="0">
                        <a:solidFill>
                          <a:schemeClr val="dk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Record to Report – Local Reporting (1 hr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. Reporting &amp; Analytics (1 hr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 Treasury Management (1 hr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118986"/>
                  </a:ext>
                </a:extLst>
              </a:tr>
              <a:tr h="8247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3333" marR="73333" marT="73333" marB="73333" anchor="ctr" horzOverflow="overflow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Data Conversion (2 hrs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333" marR="73333" marT="73333" marB="73333" anchor="ctr" horzOverflow="overflow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Cyber Lab (1.5 hrs.)</a:t>
                      </a:r>
                    </a:p>
                  </a:txBody>
                  <a:tcPr marL="73333" marR="73333" marT="73333" marB="73333" anchor="ctr" horzOverflow="overflow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Change Lab (2 hrs.)</a:t>
                      </a:r>
                    </a:p>
                  </a:txBody>
                  <a:tcPr marL="73333" marR="73333" marT="73333" marB="73333" anchor="ctr" horzOverflow="overflow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 dirty="0">
                        <a:solidFill>
                          <a:schemeClr val="dk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247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3333" marR="73333" marT="73333" marB="73333" anchor="ctr" horzOverflow="overflow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3333" marR="73333" marT="73333" marB="73333" anchor="ctr" horzOverflow="overflow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3333" marR="73333" marT="73333" marB="73333" anchor="ctr" horzOverflow="overflow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hronicle Display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3333" marR="73333" marT="73333" marB="73333" anchor="ctr" horzOverflow="overflow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 dirty="0">
                        <a:solidFill>
                          <a:schemeClr val="dk1"/>
                        </a:solidFill>
                        <a:latin typeface="Chronicle Display"/>
                        <a:ea typeface="+mn-ea"/>
                        <a:cs typeface="+mn-cs"/>
                      </a:endParaRPr>
                    </a:p>
                  </a:txBody>
                  <a:tcPr marL="50297" marR="50297" marT="31099" marB="31099" anchor="ctr">
                    <a:lnL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C2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5608327"/>
                  </a:ext>
                </a:extLst>
              </a:tr>
            </a:tbl>
          </a:graphicData>
        </a:graphic>
      </p:graphicFrame>
      <p:sp>
        <p:nvSpPr>
          <p:cNvPr id="74" name="TextBox 73">
            <a:extLst>
              <a:ext uri="{FF2B5EF4-FFF2-40B4-BE49-F238E27FC236}">
                <a16:creationId xmlns:a16="http://schemas.microsoft.com/office/drawing/2014/main" id="{D4A21E60-DEDC-46CE-B695-2123DA3C215E}"/>
              </a:ext>
            </a:extLst>
          </p:cNvPr>
          <p:cNvSpPr txBox="1"/>
          <p:nvPr/>
        </p:nvSpPr>
        <p:spPr>
          <a:xfrm>
            <a:off x="274766" y="1081295"/>
            <a:ext cx="276999" cy="738664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800">
                <a:solidFill>
                  <a:srgbClr val="313131"/>
                </a:solidFill>
              </a:rPr>
              <a:t>Jan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F49F9290-C83A-4DAD-877C-2F045957F968}"/>
              </a:ext>
            </a:extLst>
          </p:cNvPr>
          <p:cNvSpPr txBox="1"/>
          <p:nvPr/>
        </p:nvSpPr>
        <p:spPr>
          <a:xfrm>
            <a:off x="262681" y="5865414"/>
            <a:ext cx="276999" cy="738664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800">
                <a:solidFill>
                  <a:srgbClr val="313131"/>
                </a:solidFill>
              </a:rPr>
              <a:t>Mar</a:t>
            </a:r>
            <a:endParaRPr lang="en-US">
              <a:solidFill>
                <a:srgbClr val="313131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A28B19A-1F29-4A75-BFE1-7D2FAF1056ED}"/>
              </a:ext>
            </a:extLst>
          </p:cNvPr>
          <p:cNvSpPr txBox="1"/>
          <p:nvPr/>
        </p:nvSpPr>
        <p:spPr>
          <a:xfrm>
            <a:off x="262681" y="1986937"/>
            <a:ext cx="276999" cy="3789767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800">
                <a:solidFill>
                  <a:srgbClr val="313131"/>
                </a:solidFill>
              </a:rPr>
              <a:t>Feb</a:t>
            </a:r>
            <a:endParaRPr lang="en-US">
              <a:solidFill>
                <a:srgbClr val="313131"/>
              </a:solidFill>
            </a:endParaRPr>
          </a:p>
        </p:txBody>
      </p:sp>
      <p:sp>
        <p:nvSpPr>
          <p:cNvPr id="79" name="Title 7">
            <a:extLst>
              <a:ext uri="{FF2B5EF4-FFF2-40B4-BE49-F238E27FC236}">
                <a16:creationId xmlns:a16="http://schemas.microsoft.com/office/drawing/2014/main" id="{9BBAF798-0041-4DD5-8FE8-7F9845126F95}"/>
              </a:ext>
            </a:extLst>
          </p:cNvPr>
          <p:cNvSpPr txBox="1">
            <a:spLocks/>
          </p:cNvSpPr>
          <p:nvPr/>
        </p:nvSpPr>
        <p:spPr bwMode="gray">
          <a:xfrm>
            <a:off x="603840" y="98491"/>
            <a:ext cx="11294241" cy="594360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i="0" kern="1200" spc="-75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sz="3000" b="1">
                <a:latin typeface="+mj-lt"/>
                <a:ea typeface="Open Sans Light"/>
                <a:cs typeface="Open Sans Light"/>
              </a:rPr>
              <a:t>Confirmation </a:t>
            </a:r>
            <a:r>
              <a:rPr lang="en-US" sz="3000" b="1" dirty="0">
                <a:latin typeface="+mj-lt"/>
                <a:ea typeface="Open Sans Light"/>
                <a:cs typeface="Open Sans Light"/>
              </a:rPr>
              <a:t>Workshops Schedule DRAFT</a:t>
            </a:r>
          </a:p>
        </p:txBody>
      </p:sp>
      <p:sp>
        <p:nvSpPr>
          <p:cNvPr id="80" name="Text Placeholder 9">
            <a:extLst>
              <a:ext uri="{FF2B5EF4-FFF2-40B4-BE49-F238E27FC236}">
                <a16:creationId xmlns:a16="http://schemas.microsoft.com/office/drawing/2014/main" id="{D251BD6D-77A6-40F2-8B89-7F7C9D61E7AC}"/>
              </a:ext>
            </a:extLst>
          </p:cNvPr>
          <p:cNvSpPr txBox="1">
            <a:spLocks/>
          </p:cNvSpPr>
          <p:nvPr/>
        </p:nvSpPr>
        <p:spPr>
          <a:xfrm>
            <a:off x="603840" y="143667"/>
            <a:ext cx="3355848" cy="203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1"/>
                </a:solidFill>
                <a:latin typeface="+mn-lt"/>
                <a:ea typeface="Nexa Black" charset="0"/>
                <a:cs typeface="Nexa Black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Modernize + TRANSFORM + INNOVAT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A0DC8E3-4BF6-4C5E-8DA4-9884118BD200}"/>
              </a:ext>
            </a:extLst>
          </p:cNvPr>
          <p:cNvSpPr/>
          <p:nvPr/>
        </p:nvSpPr>
        <p:spPr bwMode="gray">
          <a:xfrm>
            <a:off x="3775268" y="6534770"/>
            <a:ext cx="7110714" cy="25219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>
                <a:solidFill>
                  <a:sysClr val="windowText" lastClr="000000"/>
                </a:solidFill>
              </a:rPr>
              <a:t>Present Readout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F74046B8-B335-4D63-8E29-1FBF91103ABC}"/>
              </a:ext>
            </a:extLst>
          </p:cNvPr>
          <p:cNvGrpSpPr/>
          <p:nvPr/>
        </p:nvGrpSpPr>
        <p:grpSpPr>
          <a:xfrm>
            <a:off x="2493886" y="1066365"/>
            <a:ext cx="9432414" cy="5324503"/>
            <a:chOff x="2230802" y="1049352"/>
            <a:chExt cx="8400575" cy="5324503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32EF75BE-0B8E-440B-AA01-6C5D2E527816}"/>
                </a:ext>
              </a:extLst>
            </p:cNvPr>
            <p:cNvSpPr/>
            <p:nvPr/>
          </p:nvSpPr>
          <p:spPr>
            <a:xfrm>
              <a:off x="4252402" y="1049352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30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181F72C-7EC6-4F0E-8097-B85568D1D9AB}"/>
                </a:ext>
              </a:extLst>
            </p:cNvPr>
            <p:cNvSpPr/>
            <p:nvPr/>
          </p:nvSpPr>
          <p:spPr>
            <a:xfrm>
              <a:off x="6274002" y="1054454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latin typeface="Chronicle Display"/>
                </a:rPr>
                <a:t>31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40C6A0EE-F8E6-4B4A-AB53-E3695AF6C7A6}"/>
                </a:ext>
              </a:extLst>
            </p:cNvPr>
            <p:cNvSpPr/>
            <p:nvPr/>
          </p:nvSpPr>
          <p:spPr>
            <a:xfrm>
              <a:off x="8287165" y="1049352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1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C61CE94-F2F6-401C-A2AE-EA5251C141EE}"/>
                </a:ext>
              </a:extLst>
            </p:cNvPr>
            <p:cNvSpPr/>
            <p:nvPr/>
          </p:nvSpPr>
          <p:spPr>
            <a:xfrm>
              <a:off x="10300328" y="1049352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latin typeface="Chronicle Display"/>
                </a:rPr>
                <a:t>2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A57DCFEB-F708-49DE-8C9B-5FE8DEE4F435}"/>
                </a:ext>
              </a:extLst>
            </p:cNvPr>
            <p:cNvSpPr/>
            <p:nvPr/>
          </p:nvSpPr>
          <p:spPr>
            <a:xfrm>
              <a:off x="4249333" y="1874271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6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1279BCF9-C17A-4C88-9978-70D02A460A6D}"/>
                </a:ext>
              </a:extLst>
            </p:cNvPr>
            <p:cNvSpPr/>
            <p:nvPr/>
          </p:nvSpPr>
          <p:spPr>
            <a:xfrm>
              <a:off x="6264854" y="1867477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7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E5F375A-4BF5-4713-8DFC-A4B658651EA1}"/>
                </a:ext>
              </a:extLst>
            </p:cNvPr>
            <p:cNvSpPr/>
            <p:nvPr/>
          </p:nvSpPr>
          <p:spPr>
            <a:xfrm>
              <a:off x="8287165" y="1874271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latin typeface="Chronicle Display"/>
                </a:rPr>
                <a:t>8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727269B0-346C-4AAC-8884-E11956553773}"/>
                </a:ext>
              </a:extLst>
            </p:cNvPr>
            <p:cNvSpPr/>
            <p:nvPr/>
          </p:nvSpPr>
          <p:spPr>
            <a:xfrm>
              <a:off x="10300328" y="1884545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latin typeface="Chronicle Display"/>
                </a:rPr>
                <a:t>9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8B19EF1-A894-41F6-BB6C-CA8334E8EF06}"/>
                </a:ext>
              </a:extLst>
            </p:cNvPr>
            <p:cNvSpPr/>
            <p:nvPr/>
          </p:nvSpPr>
          <p:spPr>
            <a:xfrm>
              <a:off x="4252402" y="2888160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13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7F73960-AE41-4B18-9D7A-E641E7D80949}"/>
                </a:ext>
              </a:extLst>
            </p:cNvPr>
            <p:cNvSpPr/>
            <p:nvPr/>
          </p:nvSpPr>
          <p:spPr>
            <a:xfrm>
              <a:off x="6264854" y="2882307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14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50672645-BAF8-4C39-83B1-851AD1A29105}"/>
                </a:ext>
              </a:extLst>
            </p:cNvPr>
            <p:cNvSpPr/>
            <p:nvPr/>
          </p:nvSpPr>
          <p:spPr>
            <a:xfrm>
              <a:off x="8286454" y="2888025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15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667A79BF-FC98-45C3-BD35-D7CA1CC36BDC}"/>
                </a:ext>
              </a:extLst>
            </p:cNvPr>
            <p:cNvSpPr/>
            <p:nvPr/>
          </p:nvSpPr>
          <p:spPr>
            <a:xfrm>
              <a:off x="10300328" y="2882306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latin typeface="Chronicle Display"/>
                </a:rPr>
                <a:t>16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12FCF49F-FB14-45EC-9680-913144EE30E1}"/>
                </a:ext>
              </a:extLst>
            </p:cNvPr>
            <p:cNvSpPr/>
            <p:nvPr/>
          </p:nvSpPr>
          <p:spPr>
            <a:xfrm>
              <a:off x="4246089" y="4034047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latin typeface="Chronicle Display"/>
                </a:rPr>
                <a:t>20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3CC0E0D3-4E65-4FC1-AB92-1D8727484CD2}"/>
                </a:ext>
              </a:extLst>
            </p:cNvPr>
            <p:cNvSpPr/>
            <p:nvPr/>
          </p:nvSpPr>
          <p:spPr>
            <a:xfrm>
              <a:off x="6266607" y="4034047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latin typeface="Chronicle Display"/>
                </a:rPr>
                <a:t>21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34B42AA8-AD80-4D4C-97ED-339435B1365E}"/>
                </a:ext>
              </a:extLst>
            </p:cNvPr>
            <p:cNvSpPr/>
            <p:nvPr/>
          </p:nvSpPr>
          <p:spPr>
            <a:xfrm>
              <a:off x="8286454" y="4034047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22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B27C94B5-2D4C-47D4-A60D-BB2C4D085767}"/>
                </a:ext>
              </a:extLst>
            </p:cNvPr>
            <p:cNvSpPr/>
            <p:nvPr/>
          </p:nvSpPr>
          <p:spPr>
            <a:xfrm>
              <a:off x="10300328" y="4034047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23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A75F2A97-0CE9-476D-9E17-534006F43A9E}"/>
                </a:ext>
              </a:extLst>
            </p:cNvPr>
            <p:cNvSpPr/>
            <p:nvPr/>
          </p:nvSpPr>
          <p:spPr>
            <a:xfrm>
              <a:off x="4252402" y="5199414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27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6FC4359B-126D-4091-878A-D3F6D75F6509}"/>
                </a:ext>
              </a:extLst>
            </p:cNvPr>
            <p:cNvSpPr/>
            <p:nvPr/>
          </p:nvSpPr>
          <p:spPr>
            <a:xfrm>
              <a:off x="6273568" y="5199414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28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CF5C6478-61A8-4623-B206-7E1CBAD434CE}"/>
                </a:ext>
              </a:extLst>
            </p:cNvPr>
            <p:cNvSpPr/>
            <p:nvPr/>
          </p:nvSpPr>
          <p:spPr>
            <a:xfrm>
              <a:off x="8286454" y="5217575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1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52E13EB7-E3E2-4104-AB86-59F233034D04}"/>
                </a:ext>
              </a:extLst>
            </p:cNvPr>
            <p:cNvSpPr/>
            <p:nvPr/>
          </p:nvSpPr>
          <p:spPr>
            <a:xfrm>
              <a:off x="10300328" y="5199414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2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F1F534FE-64A7-4FD7-80FC-C657192D8572}"/>
                </a:ext>
              </a:extLst>
            </p:cNvPr>
            <p:cNvSpPr/>
            <p:nvPr/>
          </p:nvSpPr>
          <p:spPr>
            <a:xfrm>
              <a:off x="4255645" y="6034607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latin typeface="Chronicle Display"/>
                </a:rPr>
                <a:t>6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C0ABAADD-EE58-478E-8906-F31054BC37A4}"/>
                </a:ext>
              </a:extLst>
            </p:cNvPr>
            <p:cNvSpPr/>
            <p:nvPr/>
          </p:nvSpPr>
          <p:spPr>
            <a:xfrm>
              <a:off x="6273568" y="6031588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7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A24B97BB-0CF6-481F-A5AB-2A77316E5F7B}"/>
                </a:ext>
              </a:extLst>
            </p:cNvPr>
            <p:cNvSpPr/>
            <p:nvPr/>
          </p:nvSpPr>
          <p:spPr>
            <a:xfrm>
              <a:off x="8291490" y="6027504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8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EECECAC1-A216-4870-8FA0-3FE3C3AB3152}"/>
                </a:ext>
              </a:extLst>
            </p:cNvPr>
            <p:cNvSpPr/>
            <p:nvPr/>
          </p:nvSpPr>
          <p:spPr>
            <a:xfrm>
              <a:off x="10300328" y="6032304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9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22A35454-A1F8-4D1F-B08C-4533A3E098B3}"/>
                </a:ext>
              </a:extLst>
            </p:cNvPr>
            <p:cNvSpPr/>
            <p:nvPr/>
          </p:nvSpPr>
          <p:spPr>
            <a:xfrm>
              <a:off x="2230802" y="1049352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29</a:t>
              </a: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1D5B712E-86F6-48A8-A3C1-8E6E2F28EC4F}"/>
                </a:ext>
              </a:extLst>
            </p:cNvPr>
            <p:cNvSpPr/>
            <p:nvPr/>
          </p:nvSpPr>
          <p:spPr>
            <a:xfrm>
              <a:off x="2230802" y="1874271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5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1DD216DA-53C5-4885-B6B4-113A1259AFA5}"/>
                </a:ext>
              </a:extLst>
            </p:cNvPr>
            <p:cNvSpPr/>
            <p:nvPr/>
          </p:nvSpPr>
          <p:spPr>
            <a:xfrm>
              <a:off x="2230802" y="2888160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12</a:t>
              </a: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62CA0C6C-29DD-45F3-91BD-B82AAC043EFF}"/>
                </a:ext>
              </a:extLst>
            </p:cNvPr>
            <p:cNvSpPr/>
            <p:nvPr/>
          </p:nvSpPr>
          <p:spPr>
            <a:xfrm>
              <a:off x="2234144" y="4034047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19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0DF7218A-50A9-424A-AECF-8901AD4C69B7}"/>
                </a:ext>
              </a:extLst>
            </p:cNvPr>
            <p:cNvSpPr/>
            <p:nvPr/>
          </p:nvSpPr>
          <p:spPr>
            <a:xfrm>
              <a:off x="2230802" y="5199414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latin typeface="Chronicle Display"/>
                </a:rPr>
                <a:t>26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AE0D1B9D-8ECF-45EC-A662-15C11BC59232}"/>
                </a:ext>
              </a:extLst>
            </p:cNvPr>
            <p:cNvSpPr/>
            <p:nvPr/>
          </p:nvSpPr>
          <p:spPr>
            <a:xfrm>
              <a:off x="2230802" y="6038080"/>
              <a:ext cx="331049" cy="3357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latin typeface="Chronicle Display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538544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Brand_16_9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Kinetic Enterprise_PPT template_081621_FINAL.pptx" id="{81E0818D-39FF-424A-8B65-77DC896E2B73}" vid="{F31995C8-9C68-4693-B40C-1AB18EBEF8D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605c320-b55e-4af4-addb-d1a9d1bdf49a">
      <UserInfo>
        <DisplayName/>
        <AccountId xsi:nil="true"/>
        <AccountType/>
      </UserInfo>
    </SharedWithUsers>
    <lcf76f155ced4ddcb4097134ff3c332f xmlns="ecdbe5b9-5499-446f-91f2-35ffe1354dc7">
      <Terms xmlns="http://schemas.microsoft.com/office/infopath/2007/PartnerControls"/>
    </lcf76f155ced4ddcb4097134ff3c332f>
    <TaxCatchAll xmlns="f605c320-b55e-4af4-addb-d1a9d1bdf49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8A6DCCE3A4D6246BDCC3A99887E7EBF" ma:contentTypeVersion="17" ma:contentTypeDescription="Create a new document." ma:contentTypeScope="" ma:versionID="affd4296e8f1351782c9a0c46419815a">
  <xsd:schema xmlns:xsd="http://www.w3.org/2001/XMLSchema" xmlns:xs="http://www.w3.org/2001/XMLSchema" xmlns:p="http://schemas.microsoft.com/office/2006/metadata/properties" xmlns:ns2="ecdbe5b9-5499-446f-91f2-35ffe1354dc7" xmlns:ns3="f605c320-b55e-4af4-addb-d1a9d1bdf49a" targetNamespace="http://schemas.microsoft.com/office/2006/metadata/properties" ma:root="true" ma:fieldsID="b2e98148e58719572f5b792c854782dd" ns2:_="" ns3:_="">
    <xsd:import namespace="ecdbe5b9-5499-446f-91f2-35ffe1354dc7"/>
    <xsd:import namespace="f605c320-b55e-4af4-addb-d1a9d1bdf49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dbe5b9-5499-446f-91f2-35ffe1354d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05c320-b55e-4af4-addb-d1a9d1bdf49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ea543a0b-041d-4ba4-9f31-868688cb4e3e}" ma:internalName="TaxCatchAll" ma:showField="CatchAllData" ma:web="f605c320-b55e-4af4-addb-d1a9d1bdf49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A05E49B-70B5-4FEC-89D5-F69F52BE5B81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543e56b8-7632-4b14-b1a2-8aaf3cff7f76"/>
    <ds:schemaRef ds:uri="http://purl.org/dc/dcmitype/"/>
    <ds:schemaRef ds:uri="24ef3fb2-cd99-4121-bdb6-842436d0e529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elements/1.1/"/>
    <ds:schemaRef ds:uri="f605c320-b55e-4af4-addb-d1a9d1bdf49a"/>
    <ds:schemaRef ds:uri="ecdbe5b9-5499-446f-91f2-35ffe1354dc7"/>
  </ds:schemaRefs>
</ds:datastoreItem>
</file>

<file path=customXml/itemProps2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1EB6E5D-6E8A-4EE6-9513-13D8ED475D9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cdbe5b9-5499-446f-91f2-35ffe1354dc7"/>
    <ds:schemaRef ds:uri="f605c320-b55e-4af4-addb-d1a9d1bdf49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</TotalTime>
  <Words>320</Words>
  <Application>Microsoft Office PowerPoint</Application>
  <PresentationFormat>Widescreen</PresentationFormat>
  <Paragraphs>104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Arial</vt:lpstr>
      <vt:lpstr>Arial,Sans-Serif</vt:lpstr>
      <vt:lpstr>Calibri</vt:lpstr>
      <vt:lpstr>Calibri Light</vt:lpstr>
      <vt:lpstr>Chronicle Display</vt:lpstr>
      <vt:lpstr>Verdana</vt:lpstr>
      <vt:lpstr>Wingdings</vt:lpstr>
      <vt:lpstr>Wingdings 2</vt:lpstr>
      <vt:lpstr>Deloitte_Brand_16_9</vt:lpstr>
      <vt:lpstr>think-cell Slide</vt:lpstr>
      <vt:lpstr>Close, Consolidation and Planning Workshop</vt:lpstr>
      <vt:lpstr>Introductions</vt:lpstr>
      <vt:lpstr>PowerPoint Presentation</vt:lpstr>
      <vt:lpstr>Appendix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inetic Enterprise</dc:title>
  <dc:creator>Saini, Deepak</dc:creator>
  <cp:lastModifiedBy>D D, Anusha</cp:lastModifiedBy>
  <cp:revision>3</cp:revision>
  <cp:lastPrinted>2014-06-25T02:16:22Z</cp:lastPrinted>
  <dcterms:created xsi:type="dcterms:W3CDTF">2023-01-31T06:57:31Z</dcterms:created>
  <dcterms:modified xsi:type="dcterms:W3CDTF">2024-04-10T05:1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EC66C6C5563054CB3180C4AE6D905F6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03-15T08:01:35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c48226f8-9411-4d06-b069-56e094e1e42e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ediaServiceImageTags">
    <vt:lpwstr/>
  </property>
  <property fmtid="{D5CDD505-2E9C-101B-9397-08002B2CF9AE}" pid="11" name="xd_ProgID">
    <vt:lpwstr/>
  </property>
  <property fmtid="{D5CDD505-2E9C-101B-9397-08002B2CF9AE}" pid="12" name="_SourceUrl">
    <vt:lpwstr/>
  </property>
  <property fmtid="{D5CDD505-2E9C-101B-9397-08002B2CF9AE}" pid="13" name="_SharedFileIndex">
    <vt:lpwstr/>
  </property>
  <property fmtid="{D5CDD505-2E9C-101B-9397-08002B2CF9AE}" pid="14" name="ComplianceAssetId">
    <vt:lpwstr/>
  </property>
  <property fmtid="{D5CDD505-2E9C-101B-9397-08002B2CF9AE}" pid="15" name="TemplateUrl">
    <vt:lpwstr/>
  </property>
  <property fmtid="{D5CDD505-2E9C-101B-9397-08002B2CF9AE}" pid="16" name="_ExtendedDescription">
    <vt:lpwstr/>
  </property>
  <property fmtid="{D5CDD505-2E9C-101B-9397-08002B2CF9AE}" pid="17" name="TriggerFlowInfo">
    <vt:lpwstr/>
  </property>
  <property fmtid="{D5CDD505-2E9C-101B-9397-08002B2CF9AE}" pid="18" name="xd_Signature">
    <vt:lpwstr/>
  </property>
</Properties>
</file>